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549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723258096172712E-2"/>
          <c:y val="8.2443400256300731E-2"/>
          <c:w val="0.84514229636898919"/>
          <c:h val="0.835113199487398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B79-43D8-9BB0-88AA90C400C2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B79-43D8-9BB0-88AA90C400C2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B79-43D8-9BB0-88AA90C400C2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B79-43D8-9BB0-88AA90C400C2}"/>
                </c:ext>
              </c:extLst>
            </c:dLbl>
            <c:dLbl>
              <c:idx val="4"/>
              <c:layout>
                <c:manualLayout>
                  <c:x val="0"/>
                  <c:y val="-4.2716787697565144E-4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B79-43D8-9BB0-88AA90C400C2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B79-43D8-9BB0-88AA90C400C2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B79-43D8-9BB0-88AA90C400C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323</c:v>
                </c:pt>
                <c:pt idx="1">
                  <c:v>330</c:v>
                </c:pt>
                <c:pt idx="2">
                  <c:v>350</c:v>
                </c:pt>
                <c:pt idx="3">
                  <c:v>360</c:v>
                </c:pt>
                <c:pt idx="4">
                  <c:v>377</c:v>
                </c:pt>
                <c:pt idx="5">
                  <c:v>380</c:v>
                </c:pt>
                <c:pt idx="7">
                  <c:v>4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B79-43D8-9BB0-88AA90C400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29858240"/>
        <c:axId val="1"/>
      </c:barChart>
      <c:lineChart>
        <c:grouping val="standard"/>
        <c:varyColors val="0"/>
        <c:ser>
          <c:idx val="1"/>
          <c:order val="1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EB79-43D8-9BB0-88AA90C400C2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EB79-43D8-9BB0-88AA90C400C2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EB79-43D8-9BB0-88AA90C400C2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EB79-43D8-9BB0-88AA90C400C2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EB79-43D8-9BB0-88AA90C400C2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EB79-43D8-9BB0-88AA90C400C2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EB79-43D8-9BB0-88AA90C400C2}"/>
              </c:ext>
            </c:extLst>
          </c:dPt>
          <c:val>
            <c:numRef>
              <c:f>Sheet1!$A$2:$H$2</c:f>
              <c:numCache>
                <c:formatCode>General</c:formatCode>
                <c:ptCount val="8"/>
                <c:pt idx="0">
                  <c:v>36</c:v>
                </c:pt>
                <c:pt idx="1">
                  <c:v>38</c:v>
                </c:pt>
                <c:pt idx="2">
                  <c:v>39</c:v>
                </c:pt>
                <c:pt idx="3">
                  <c:v>40</c:v>
                </c:pt>
                <c:pt idx="4">
                  <c:v>42.22</c:v>
                </c:pt>
                <c:pt idx="5">
                  <c:v>41.63</c:v>
                </c:pt>
                <c:pt idx="6">
                  <c:v>49.984999999999999</c:v>
                </c:pt>
                <c:pt idx="7">
                  <c:v>58.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EB79-43D8-9BB0-88AA90C400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3298582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29858240"/>
        <c:crosses val="min"/>
        <c:crossBetween val="between"/>
        <c:majorUnit val="100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6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0&quot;k&quot;;&quot;-&quot;0&quot;k&quot;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"/>
        <c:crosses val="max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8C23DB-7C73-4AD7-8183-A2363AA2D547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4ADE34-FFD9-4D10-BCF1-4EDDFC3D5F2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33614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70693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523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334546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675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136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1570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196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991123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chart" Target="../charts/chart1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image" Target="../media/image4.emf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oleObject" Target="../embeddings/oleObject5.bin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notesSlide" Target="../notesSlides/notesSlide1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24" imgW="349" imgH="350" progId="TCLayout.ActiveDocument.1">
                  <p:embed/>
                </p:oleObj>
              </mc:Choice>
              <mc:Fallback>
                <p:oleObj name="think-cell 幻灯片" r:id="rId2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38FE20FD-B84E-DFB4-8A59-2CB96687B10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56723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hink-cell, chart, charts, graph, graphs, line, lines, column, columns, bar, bars, comment</a:t>
            </a:r>
          </a:p>
        </p:txBody>
      </p:sp>
      <p:sp>
        <p:nvSpPr>
          <p:cNvPr id="2" name="Rechteck 137">
            <a:extLst>
              <a:ext uri="{FF2B5EF4-FFF2-40B4-BE49-F238E27FC236}">
                <a16:creationId xmlns:a16="http://schemas.microsoft.com/office/drawing/2014/main" id="{74A33909-2377-A9E0-E691-0E36C2774542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3" name="tc_columnheader">
            <a:extLst>
              <a:ext uri="{FF2B5EF4-FFF2-40B4-BE49-F238E27FC236}">
                <a16:creationId xmlns:a16="http://schemas.microsoft.com/office/drawing/2014/main" id="{EFBBD661-1B72-6380-A1ED-9F2254AEC12A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7" name="tc_columnhead">
              <a:extLst>
                <a:ext uri="{FF2B5EF4-FFF2-40B4-BE49-F238E27FC236}">
                  <a16:creationId xmlns:a16="http://schemas.microsoft.com/office/drawing/2014/main" id="{BD692CAA-56EC-A099-0FDC-32CAD4299FA4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chart_title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8" name="tc_columnheadline">
              <a:extLst>
                <a:ext uri="{FF2B5EF4-FFF2-40B4-BE49-F238E27FC236}">
                  <a16:creationId xmlns:a16="http://schemas.microsoft.com/office/drawing/2014/main" id="{225E48D2-7FFA-F990-88A9-2E17B2A635BD}"/>
                </a:ext>
              </a:extLst>
            </p:cNvPr>
            <p:cNvCxnSpPr>
              <a:cxnSpLocks/>
              <a:stCxn id="7" idx="4"/>
              <a:endCxn id="7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tc_columnheader">
            <a:extLst>
              <a:ext uri="{FF2B5EF4-FFF2-40B4-BE49-F238E27FC236}">
                <a16:creationId xmlns:a16="http://schemas.microsoft.com/office/drawing/2014/main" id="{91A1612D-8F13-1AA6-19FE-9E7847BA8564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11" name="tc_columnhead">
              <a:extLst>
                <a:ext uri="{FF2B5EF4-FFF2-40B4-BE49-F238E27FC236}">
                  <a16:creationId xmlns:a16="http://schemas.microsoft.com/office/drawing/2014/main" id="{11A497E9-2806-B977-8B92-1AC56B04F0B4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12" name="tc_columnheadline">
              <a:extLst>
                <a:ext uri="{FF2B5EF4-FFF2-40B4-BE49-F238E27FC236}">
                  <a16:creationId xmlns:a16="http://schemas.microsoft.com/office/drawing/2014/main" id="{402D1D0C-55C3-1ECE-25A4-1ABE05A9DD63}"/>
                </a:ext>
              </a:extLst>
            </p:cNvPr>
            <p:cNvCxnSpPr>
              <a:cxnSpLocks/>
              <a:stCxn id="11" idx="4"/>
              <a:endCxn id="11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8">
            <a:extLst>
              <a:ext uri="{FF2B5EF4-FFF2-40B4-BE49-F238E27FC236}">
                <a16:creationId xmlns:a16="http://schemas.microsoft.com/office/drawing/2014/main" id="{F8948808-FE7A-7CCB-4CA3-BB50067C94DC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chart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the chart's internal datashe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CAGR arrows, difference arrows)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the chart or a chart feature to open the context menu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the chart or a feature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  <p:graphicFrame>
        <p:nvGraphicFramePr>
          <p:cNvPr id="41" name="Chart 3">
            <a:extLst>
              <a:ext uri="{FF2B5EF4-FFF2-40B4-BE49-F238E27FC236}">
                <a16:creationId xmlns:a16="http://schemas.microsoft.com/office/drawing/2014/main" id="{0FD6BF97-602D-4900-9F6C-6ED9797D521E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241300" y="2009775"/>
          <a:ext cx="8088313" cy="3716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 useBgFill="1">
        <p:nvSpPr>
          <p:cNvPr id="16" name="任意多边形: 形状 15">
            <a:extLst>
              <a:ext uri="{FF2B5EF4-FFF2-40B4-BE49-F238E27FC236}">
                <a16:creationId xmlns:a16="http://schemas.microsoft.com/office/drawing/2014/main" id="{A64EA133-8978-4000-B453-B3594E937786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383338" y="2709863"/>
            <a:ext cx="79376" cy="247651"/>
          </a:xfrm>
          <a:custGeom>
            <a:avLst/>
            <a:gdLst/>
            <a:ahLst/>
            <a:cxnLst/>
            <a:rect l="0" t="0" r="0" b="0"/>
            <a:pathLst>
              <a:path w="79376" h="247651">
                <a:moveTo>
                  <a:pt x="79375" y="0"/>
                </a:moveTo>
                <a:lnTo>
                  <a:pt x="57150" y="82550"/>
                </a:lnTo>
                <a:lnTo>
                  <a:pt x="79375" y="165100"/>
                </a:lnTo>
                <a:lnTo>
                  <a:pt x="57150" y="247650"/>
                </a:lnTo>
                <a:lnTo>
                  <a:pt x="0" y="247650"/>
                </a:lnTo>
                <a:lnTo>
                  <a:pt x="22225" y="165100"/>
                </a:lnTo>
                <a:lnTo>
                  <a:pt x="0" y="82550"/>
                </a:lnTo>
                <a:lnTo>
                  <a:pt x="22225" y="0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 useBgFill="1">
        <p:nvSpPr>
          <p:cNvPr id="19" name="任意多边形: 形状 18">
            <a:extLst>
              <a:ext uri="{FF2B5EF4-FFF2-40B4-BE49-F238E27FC236}">
                <a16:creationId xmlns:a16="http://schemas.microsoft.com/office/drawing/2014/main" id="{8C014FE5-6E9F-459E-8777-49F8C0A6942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6375400" y="5346700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7874EA8D-2DBF-4AFA-8A59-583A3068134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383338" y="2709863"/>
            <a:ext cx="22226" cy="247651"/>
          </a:xfrm>
          <a:custGeom>
            <a:avLst/>
            <a:gdLst/>
            <a:ahLst/>
            <a:cxnLst/>
            <a:rect l="0" t="0" r="0" b="0"/>
            <a:pathLst>
              <a:path w="22226" h="247651">
                <a:moveTo>
                  <a:pt x="22225" y="0"/>
                </a:moveTo>
                <a:lnTo>
                  <a:pt x="0" y="82550"/>
                </a:lnTo>
                <a:lnTo>
                  <a:pt x="22225" y="165100"/>
                </a:lnTo>
                <a:lnTo>
                  <a:pt x="0" y="247650"/>
                </a:lnTo>
              </a:path>
            </a:pathLst>
          </a:custGeom>
          <a:noFill/>
          <a:ln w="9525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51F52FED-5971-4CD3-BF77-ACDB3491173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6440488" y="2709863"/>
            <a:ext cx="22226" cy="247651"/>
          </a:xfrm>
          <a:custGeom>
            <a:avLst/>
            <a:gdLst/>
            <a:ahLst/>
            <a:cxnLst/>
            <a:rect l="0" t="0" r="0" b="0"/>
            <a:pathLst>
              <a:path w="22226" h="247651">
                <a:moveTo>
                  <a:pt x="22225" y="0"/>
                </a:moveTo>
                <a:lnTo>
                  <a:pt x="0" y="82550"/>
                </a:lnTo>
                <a:lnTo>
                  <a:pt x="22225" y="165100"/>
                </a:lnTo>
                <a:lnTo>
                  <a:pt x="0" y="247650"/>
                </a:lnTo>
              </a:path>
            </a:pathLst>
          </a:custGeom>
          <a:noFill/>
          <a:ln w="9525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CF318EF9-984A-4887-B488-B96CDB6B29AB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6375400" y="534670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F7D9FE04-A436-474B-97B7-32724C700A6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6432550" y="534670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8915B5E8-510F-F48A-AA87-91B3B4E5FAF5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1063625" y="5478463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year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767503DC-D142-1E92-1EB1-DD40621C85B2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1919288" y="5478463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2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9BB1F46B-F879-8B45-2635-B6F20F5C134E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2774950" y="5478463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3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B0366748-3CD7-6572-5CB9-ED04FA393563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3635375" y="5478463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4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573200FA-2032-88EE-A42A-8D310FFDE6FA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481512" y="5478464"/>
            <a:ext cx="482599" cy="65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5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9FBFEBD4-B539-31E5-5DFB-1578EFBF6D93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5338763" y="5478463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6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94577708-0057-4D1B-07BF-CF341F0508F2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7046913" y="5478463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7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730A3D1A-99B6-149E-6E0F-F2EA9D81FE83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gray">
          <a:xfrm>
            <a:off x="3097213" y="5872163"/>
            <a:ext cx="3302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C038C329-B8B3-C351-064F-17F4E7B2AB19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4538663" y="577850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EADA10C1-E4D9-E27A-0F00-1565E86358DE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3217863" y="5827713"/>
            <a:ext cx="88900" cy="88900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4" name="Rectangle 27">
            <a:extLst>
              <a:ext uri="{FF2B5EF4-FFF2-40B4-BE49-F238E27FC236}">
                <a16:creationId xmlns:a16="http://schemas.microsoft.com/office/drawing/2014/main" id="{A2F7F674-3A89-B215-EFDD-DA1FBC424FA2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3487737" y="5773738"/>
            <a:ext cx="8509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5" name="Rectangle 27">
            <a:extLst>
              <a:ext uri="{FF2B5EF4-FFF2-40B4-BE49-F238E27FC236}">
                <a16:creationId xmlns:a16="http://schemas.microsoft.com/office/drawing/2014/main" id="{D0996ADB-A090-5CA4-72A0-FDA08DAE478B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4840288" y="5773738"/>
            <a:ext cx="7397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2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AC0C55D7-3B78-403D-8D41-7B0AD8279AC8}"/>
              </a:ext>
            </a:extLst>
          </p:cNvPr>
          <p:cNvSpPr txBox="1"/>
          <p:nvPr/>
        </p:nvSpPr>
        <p:spPr>
          <a:xfrm>
            <a:off x="3236913" y="597582"/>
            <a:ext cx="3667321" cy="53430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rgbClr val="575757"/>
                </a:solidFill>
              </a:rPr>
              <a:t>请手动填入数据</a:t>
            </a:r>
          </a:p>
        </p:txBody>
      </p:sp>
    </p:spTree>
    <p:extLst>
      <p:ext uri="{BB962C8B-B14F-4D97-AF65-F5344CB8AC3E}">
        <p14:creationId xmlns:p14="http://schemas.microsoft.com/office/powerpoint/2010/main" val="9393628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Son95Lb0NJ4OKKQgTH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h_.mVEjRAeL8IBUPIg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NJWeIohRyAmVU6oajp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iM6WmoGJa7321OxuJYM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HB5jYZCAEdQHkbAWwr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TQxfS5kjlsiCwjdhA3B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41LyZ6YBTLHjd9dMSy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LQTcXhFVj0sKrX3iau_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XBGxMFPOmUjrUScPohM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376IhuJrNXr0DNztT1_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HwlZhoCwhGDQUYoPep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hhLctojoeEaSR9ACoD9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.Wp8Z_G.kvLunZ360J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Tng1gym9tHcu7KcY79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n1Z2sUB__Atq3.J_Sg_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jUGdzCeSHegVe7yLWt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5fN3mbMRHQ2TOoJjkg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S_LbTVvhy38xkRJyQG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x14lPYn1pN2bhGa2ipfw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73</Words>
  <Application>Microsoft Office PowerPoint</Application>
  <PresentationFormat>宽屏</PresentationFormat>
  <Paragraphs>26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7:46:21Z</dcterms:created>
  <dcterms:modified xsi:type="dcterms:W3CDTF">2025-09-09T07:48:58Z</dcterms:modified>
</cp:coreProperties>
</file>